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B0000"/>
    <a:srgbClr val="8D8D8D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6:08.063" v="31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5:16:08.063" v="31" actId="27918"/>
        <pc:sldMkLst>
          <pc:docMk/>
          <pc:sldMk cId="2641487227" sldId="272"/>
        </pc:sldMkLst>
        <pc:spChg chg="mod">
          <ac:chgData name="Weigel Stefan (PAR-EPS)" userId="fd3b2067-2981-4ad8-bf3a-d2e1004e4fa8" providerId="ADAL" clId="{A4CFA2F4-FF8D-446B-B271-6DF568DBEADA}" dt="2026-01-15T16:34:05.951" v="1" actId="20577"/>
          <ac:spMkLst>
            <pc:docMk/>
            <pc:sldMk cId="2641487227" sldId="272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A4CFA2F4-FF8D-446B-B271-6DF568DBEADA}" dt="2026-01-15T16:35:45.139" v="27" actId="20577"/>
          <ac:spMkLst>
            <pc:docMk/>
            <pc:sldMk cId="2641487227" sldId="272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A4CFA2F4-FF8D-446B-B271-6DF568DBEADA}" dt="2026-01-15T16:38:23.287" v="28" actId="255"/>
          <ac:graphicFrameMkLst>
            <pc:docMk/>
            <pc:sldMk cId="2641487227" sldId="272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7061916463810077E-2"/>
          <c:w val="0.77970737914140231"/>
          <c:h val="0.8199741906118294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E094-45FA-955F-DD5583A88567}"/>
              </c:ext>
            </c:extLst>
          </c:dPt>
          <c:cat>
            <c:strRef>
              <c:f>data!$G$3:$G$18</c:f>
              <c:strCache>
                <c:ptCount val="16"/>
                <c:pt idx="0">
                  <c:v>Greece</c:v>
                </c:pt>
                <c:pt idx="1">
                  <c:v>Romania</c:v>
                </c:pt>
                <c:pt idx="2">
                  <c:v>Norway</c:v>
                </c:pt>
                <c:pt idx="3">
                  <c:v>Spain</c:v>
                </c:pt>
                <c:pt idx="4">
                  <c:v>Netherlands</c:v>
                </c:pt>
                <c:pt idx="5">
                  <c:v>Czechia</c:v>
                </c:pt>
                <c:pt idx="6">
                  <c:v>Great Britain</c:v>
                </c:pt>
                <c:pt idx="7">
                  <c:v>Italy</c:v>
                </c:pt>
                <c:pt idx="8">
                  <c:v>Finland</c:v>
                </c:pt>
                <c:pt idx="9">
                  <c:v>Denmark</c:v>
                </c:pt>
                <c:pt idx="10">
                  <c:v>Sweden</c:v>
                </c:pt>
                <c:pt idx="11">
                  <c:v>Germany</c:v>
                </c:pt>
                <c:pt idx="12">
                  <c:v>France</c:v>
                </c:pt>
                <c:pt idx="13">
                  <c:v>Hungary</c:v>
                </c:pt>
                <c:pt idx="14">
                  <c:v>Austria</c:v>
                </c:pt>
                <c:pt idx="15">
                  <c:v>Switzerland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69.839734620536305</c:v>
                </c:pt>
                <c:pt idx="1">
                  <c:v>312.14490037340198</c:v>
                </c:pt>
                <c:pt idx="2">
                  <c:v>692.84312358562397</c:v>
                </c:pt>
                <c:pt idx="3">
                  <c:v>775.05221078355601</c:v>
                </c:pt>
                <c:pt idx="4">
                  <c:v>943.19300231594605</c:v>
                </c:pt>
                <c:pt idx="5">
                  <c:v>943.58128236857794</c:v>
                </c:pt>
                <c:pt idx="6">
                  <c:v>946.86970045370094</c:v>
                </c:pt>
                <c:pt idx="7">
                  <c:v>948.04072686040899</c:v>
                </c:pt>
                <c:pt idx="8">
                  <c:v>964.51880252754995</c:v>
                </c:pt>
                <c:pt idx="9">
                  <c:v>1081.4763345077599</c:v>
                </c:pt>
                <c:pt idx="10">
                  <c:v>1286.96384770644</c:v>
                </c:pt>
                <c:pt idx="11">
                  <c:v>1305.79964808559</c:v>
                </c:pt>
                <c:pt idx="12">
                  <c:v>1563.99104183649</c:v>
                </c:pt>
                <c:pt idx="13">
                  <c:v>1571.1511984587901</c:v>
                </c:pt>
                <c:pt idx="14">
                  <c:v>1613.7497304890101</c:v>
                </c:pt>
                <c:pt idx="15">
                  <c:v>2519.1998368863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Greece</c:v>
                      </c:pt>
                      <c:pt idx="1">
                        <c:v>Romania</c:v>
                      </c:pt>
                      <c:pt idx="2">
                        <c:v>Norway</c:v>
                      </c:pt>
                      <c:pt idx="3">
                        <c:v>Spain</c:v>
                      </c:pt>
                      <c:pt idx="4">
                        <c:v>Netherlands</c:v>
                      </c:pt>
                      <c:pt idx="5">
                        <c:v>Czechia</c:v>
                      </c:pt>
                      <c:pt idx="6">
                        <c:v>Great Britain</c:v>
                      </c:pt>
                      <c:pt idx="7">
                        <c:v>Italy</c:v>
                      </c:pt>
                      <c:pt idx="8">
                        <c:v>Finland</c:v>
                      </c:pt>
                      <c:pt idx="9">
                        <c:v>Denmark</c:v>
                      </c:pt>
                      <c:pt idx="10">
                        <c:v>Sweden</c:v>
                      </c:pt>
                      <c:pt idx="11">
                        <c:v>Germany</c:v>
                      </c:pt>
                      <c:pt idx="12">
                        <c:v>France</c:v>
                      </c:pt>
                      <c:pt idx="13">
                        <c:v>Hungary</c:v>
                      </c:pt>
                      <c:pt idx="14">
                        <c:v>Austria</c:v>
                      </c:pt>
                      <c:pt idx="15">
                        <c:v>Switzerland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116.80668074504401</c:v>
                      </c:pt>
                      <c:pt idx="1">
                        <c:v>305.55380514855602</c:v>
                      </c:pt>
                      <c:pt idx="2">
                        <c:v>692.11823577850703</c:v>
                      </c:pt>
                      <c:pt idx="3">
                        <c:v>609.64050716375698</c:v>
                      </c:pt>
                      <c:pt idx="4">
                        <c:v>1114.4567152766999</c:v>
                      </c:pt>
                      <c:pt idx="5">
                        <c:v>1015.15447207993</c:v>
                      </c:pt>
                      <c:pt idx="6">
                        <c:v>1069.85874091592</c:v>
                      </c:pt>
                      <c:pt idx="7">
                        <c:v>948.769085036913</c:v>
                      </c:pt>
                      <c:pt idx="8">
                        <c:v>891.17462027346198</c:v>
                      </c:pt>
                      <c:pt idx="9">
                        <c:v>1060.3213628993699</c:v>
                      </c:pt>
                      <c:pt idx="10">
                        <c:v>1415.3351764869799</c:v>
                      </c:pt>
                      <c:pt idx="11">
                        <c:v>1205.43422716332</c:v>
                      </c:pt>
                      <c:pt idx="12">
                        <c:v>1385.7853934715899</c:v>
                      </c:pt>
                      <c:pt idx="13">
                        <c:v>0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Passenger transport demand in Europe.</a:t>
            </a:r>
            <a:endParaRPr lang="en-US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04594994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Kilometres travelled by rail per inhabitant in 2024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Eurostat, ORR</a:t>
            </a:r>
            <a:r>
              <a:rPr lang="de-CH" sz="900" kern="0" dirty="0">
                <a:solidFill>
                  <a:srgbClr val="444444"/>
                </a:solidFill>
                <a:latin typeface="SBB Light"/>
              </a:rPr>
              <a:t> &amp; 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ONS (GB)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28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4B1F45D5-9515-4BEC-B8FF-9597C71FC4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assenger transport demand in Europ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enger transport demand in Europe.</dc:title>
  <dc:creator>Meyer Raphael (KOM-PGA-VSF)</dc:creator>
  <cp:lastModifiedBy>Weigel Stefan (PAR-EPS)</cp:lastModifiedBy>
  <cp:revision>22</cp:revision>
  <dcterms:created xsi:type="dcterms:W3CDTF">2020-09-30T11:00:09Z</dcterms:created>
  <dcterms:modified xsi:type="dcterms:W3CDTF">2026-03-03T13:5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